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68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36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PARAMETRIC </a:t>
            </a:r>
            <a:r>
              <a:rPr lang="en-US"/>
              <a:t>−</a:t>
            </a:r>
            <a:r>
              <a:rPr lang="en-US" cap="none"/>
              <a:t> UNITE TECHNOLOGY 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760" y="1208948"/>
            <a:ext cx="9184735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apabilities to support multi-CAD Collaboration and Consolidation</a:t>
            </a:r>
          </a:p>
        </p:txBody>
      </p:sp>
      <p:pic>
        <p:nvPicPr>
          <p:cNvPr id="10" name="Picture 2" descr="D:\000 - CAD Sales Enablement\000 - FY16 CAD Core Plays\FY16 Direct Package Upgrade Play\images\10-medicaldevice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5584" y="2234575"/>
            <a:ext cx="2481259" cy="248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D:\000 - CAD Sales Enablement\000 - FY16 CAD Core Plays\FY16 Direct Package Upgrade Play\images\X-20101031145402668 car trans.jpg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464871" y="4801512"/>
            <a:ext cx="2642058" cy="1749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D:\000 - CAD Sales Enablement\000 - FY16 CAD Core Plays\FY16 Direct Package Upgrade Play\images\30.jp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757" y="2558944"/>
            <a:ext cx="2899199" cy="311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1F9AD56-06CE-4A06-BEBF-A5F342AB02AB}"/>
              </a:ext>
            </a:extLst>
          </p:cNvPr>
          <p:cNvSpPr/>
          <p:nvPr/>
        </p:nvSpPr>
        <p:spPr>
          <a:xfrm>
            <a:off x="499302" y="1876493"/>
            <a:ext cx="1510147" cy="80387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76AA622-BE27-4D19-B01D-DEA1B23CC8EF}"/>
              </a:ext>
            </a:extLst>
          </p:cNvPr>
          <p:cNvSpPr/>
          <p:nvPr/>
        </p:nvSpPr>
        <p:spPr>
          <a:xfrm>
            <a:off x="2150158" y="1876493"/>
            <a:ext cx="6910716" cy="8038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very customer that needs to integrate and work with design data from OEMs and outsourced design partners (components, subsystems, etc.)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typical company uses an average of 2.7 CAD systems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A4BBA3-7DAF-4849-8A2D-FC7B543FEAE4}"/>
              </a:ext>
            </a:extLst>
          </p:cNvPr>
          <p:cNvSpPr/>
          <p:nvPr/>
        </p:nvSpPr>
        <p:spPr>
          <a:xfrm>
            <a:off x="499302" y="2777825"/>
            <a:ext cx="1510147" cy="100768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13F3B58-9A65-4B3A-9EB1-C0EEC7F6CD18}"/>
              </a:ext>
            </a:extLst>
          </p:cNvPr>
          <p:cNvSpPr/>
          <p:nvPr/>
        </p:nvSpPr>
        <p:spPr>
          <a:xfrm>
            <a:off x="2150158" y="2828625"/>
            <a:ext cx="419984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C9BCBEC-2637-4699-8233-2C1220BA8093}"/>
              </a:ext>
            </a:extLst>
          </p:cNvPr>
          <p:cNvSpPr/>
          <p:nvPr/>
        </p:nvSpPr>
        <p:spPr>
          <a:xfrm>
            <a:off x="499302" y="3877998"/>
            <a:ext cx="1510147" cy="5398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885298E-E7C4-4302-B964-D6867106FCCC}"/>
              </a:ext>
            </a:extLst>
          </p:cNvPr>
          <p:cNvSpPr/>
          <p:nvPr/>
        </p:nvSpPr>
        <p:spPr>
          <a:xfrm>
            <a:off x="2150158" y="3908478"/>
            <a:ext cx="4108402" cy="539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ulti-CAD Design Collabor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D Consolidation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4CACDC7-31BB-4941-8CF2-059224C028DE}"/>
              </a:ext>
            </a:extLst>
          </p:cNvPr>
          <p:cNvSpPr/>
          <p:nvPr/>
        </p:nvSpPr>
        <p:spPr>
          <a:xfrm>
            <a:off x="499302" y="4504393"/>
            <a:ext cx="1510147" cy="13875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EC7BFB8-2969-4E6D-9F7D-6D8147ECD28C}"/>
              </a:ext>
            </a:extLst>
          </p:cNvPr>
          <p:cNvSpPr/>
          <p:nvPr/>
        </p:nvSpPr>
        <p:spPr>
          <a:xfrm>
            <a:off x="2150158" y="4534873"/>
            <a:ext cx="4437700" cy="1387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asily integrate and work with data from any CAD sourc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irectly import CATIA V4/V5, SolidWorks, Solid Edge and Inventor forma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irectly open CATIA V4/V5, Siemens NX, SolidWorks and Inventor 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96EBFC7-F66A-4224-AD6E-1F965EBF08AA}"/>
              </a:ext>
            </a:extLst>
          </p:cNvPr>
          <p:cNvCxnSpPr/>
          <p:nvPr/>
        </p:nvCxnSpPr>
        <p:spPr>
          <a:xfrm>
            <a:off x="2106434" y="1876493"/>
            <a:ext cx="0" cy="80387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E403EDC-BE00-4868-B884-4F5436DFBCD3}"/>
              </a:ext>
            </a:extLst>
          </p:cNvPr>
          <p:cNvCxnSpPr>
            <a:cxnSpLocks/>
          </p:cNvCxnSpPr>
          <p:nvPr/>
        </p:nvCxnSpPr>
        <p:spPr>
          <a:xfrm>
            <a:off x="2106434" y="2777824"/>
            <a:ext cx="0" cy="100768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6A7EF04-89F5-4356-8AB1-71B3CFBFC824}"/>
              </a:ext>
            </a:extLst>
          </p:cNvPr>
          <p:cNvCxnSpPr>
            <a:cxnSpLocks/>
          </p:cNvCxnSpPr>
          <p:nvPr/>
        </p:nvCxnSpPr>
        <p:spPr>
          <a:xfrm>
            <a:off x="2106434" y="3877998"/>
            <a:ext cx="0" cy="53984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8318FBE-A1C9-4305-9EF2-E0FDDA7442E7}"/>
              </a:ext>
            </a:extLst>
          </p:cNvPr>
          <p:cNvCxnSpPr>
            <a:cxnSpLocks/>
          </p:cNvCxnSpPr>
          <p:nvPr/>
        </p:nvCxnSpPr>
        <p:spPr>
          <a:xfrm>
            <a:off x="2106434" y="4504392"/>
            <a:ext cx="0" cy="13875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186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0</TotalTime>
  <Words>114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PARAMETRIC − UNITE TECHNOLOG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9:3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